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MKb9NISEKIKECvezGdI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MKb9NISEKIKECvezGdI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MKb9NISEKIKECvezGdI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MKb9NISEKIKECvezGdI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MKb9NISEKIKECvezGdI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MKb9NISEKIKECvezGdIw"/>
</p:tagLst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408E3DFB0917443BD3579C4B9CCF5F9" ma:contentTypeVersion="0" ma:contentTypeDescription="Crée un document." ma:contentTypeScope="" ma:versionID="b572eaab4a2a0570312cea78e7e0e3ae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efe331b061e72866024fe28ebad680d1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6069C2E-8748-40C7-BA16-173970679C83}"/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6492</TotalTime>
  <Words>1535</Words>
  <Application>Microsoft Office PowerPoint</Application>
  <PresentationFormat>Affichage à l'écran (16:9)</PresentationFormat>
  <Paragraphs>669</Paragraphs>
  <Slides>24</Slides>
  <Notes>15</Notes>
  <HiddenSlides>0</HiddenSlides>
  <MMClips>0</MMClips>
  <ScaleCrop>false</ScaleCrop>
  <HeadingPairs>
    <vt:vector size="8" baseType="variant">
      <vt:variant>
        <vt:lpstr>Polices utilisées</vt:lpstr>
      </vt:variant>
      <vt:variant>
        <vt:i4>20</vt:i4>
      </vt:variant>
      <vt:variant>
        <vt:lpstr>Thème</vt:lpstr>
      </vt:variant>
      <vt:variant>
        <vt:i4>4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4</vt:i4>
      </vt:variant>
    </vt:vector>
  </HeadingPairs>
  <TitlesOfParts>
    <vt:vector size="49" baseType="lpstr">
      <vt:lpstr>Helvetica 75</vt:lpstr>
      <vt:lpstr>MS PGothic</vt:lpstr>
      <vt:lpstr>Arial</vt:lpstr>
      <vt:lpstr>Helvetica 45 Light</vt:lpstr>
      <vt:lpstr>Helvetica 75 Bold</vt:lpstr>
      <vt:lpstr>Wingdings</vt:lpstr>
      <vt:lpstr>Helvetica 55 Roman</vt:lpstr>
      <vt:lpstr>Roboto Condensed Light</vt:lpstr>
      <vt:lpstr>Spica Neue</vt:lpstr>
      <vt:lpstr>Roboto Light</vt:lpstr>
      <vt:lpstr>Spica Neue Light</vt:lpstr>
      <vt:lpstr>Calibri</vt:lpstr>
      <vt:lpstr>Wingdings 2</vt:lpstr>
      <vt:lpstr>Courier New</vt:lpstr>
      <vt:lpstr>Times New Roman</vt:lpstr>
      <vt:lpstr>FuturaA Bk BT</vt:lpstr>
      <vt:lpstr>PMingLiU</vt:lpstr>
      <vt:lpstr>Gulim</vt:lpstr>
      <vt:lpstr>Gill Sans MT</vt:lpstr>
      <vt:lpstr>Helvetica 35 Thin</vt:lpstr>
      <vt:lpstr>blank</vt:lpstr>
      <vt:lpstr>1_tmp_AvirerORA_template_EN_beta_v4</vt:lpstr>
      <vt:lpstr>1_Contents</vt:lpstr>
      <vt:lpstr>Thème Office</vt:lpstr>
      <vt:lpstr>Workshee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 4– Planning</vt:lpstr>
      <vt:lpstr>5– Budget</vt:lpstr>
      <vt:lpstr>6– Risques</vt:lpstr>
      <vt:lpstr>7– Stratégie de mise en production</vt:lpstr>
      <vt:lpstr>7– Stratégie de mise en production</vt:lpstr>
      <vt:lpstr>7– Stratégie de mise en production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ORANGE FT Grou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landry.obodji@orange-cit.ci</dc:creator>
  <cp:lastModifiedBy>OBODJI Landry Ext/DDT/EQ [OCI]</cp:lastModifiedBy>
  <cp:revision>306</cp:revision>
  <cp:lastPrinted>2013-05-24T16:35:47Z</cp:lastPrinted>
  <dcterms:created xsi:type="dcterms:W3CDTF">2015-07-03T09:31:16Z</dcterms:created>
  <dcterms:modified xsi:type="dcterms:W3CDTF">2018-12-11T09:09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408E3DFB0917443BD3579C4B9CCF5F9</vt:lpwstr>
  </property>
</Properties>
</file>